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17.xml" ContentType="application/vnd.openxmlformats-officedocument.presentationml.slide+xml"/>
  <Override PartName="/ppt/tags/tag1522.xml" ContentType="application/vnd.openxmlformats-officedocument.presentationml.tags+xml"/>
  <Override PartName="/ppt/tags/tag1517.xml" ContentType="application/vnd.openxmlformats-officedocument.presentationml.tags+xml"/>
  <Override PartName="/ppt/tags/tag1530.xml" ContentType="application/vnd.openxmlformats-officedocument.presentationml.tags+xml"/>
  <Override PartName="/ppt/tags/tag1538.xml" ContentType="application/vnd.openxmlformats-officedocument.presentationml.tags+xml"/>
  <Override PartName="/ppt/tags/tag1543.xml" ContentType="application/vnd.openxmlformats-officedocument.presentationml.tags+xml"/>
  <Override PartName="/ppt/tags/tag1546.xml" ContentType="application/vnd.openxmlformats-officedocument.presentationml.tags+xml"/>
  <Override PartName="/ppt/tags/tag1551.xml" ContentType="application/vnd.openxmlformats-officedocument.presentationml.tags+xml"/>
  <Override PartName="/ppt/tags/tag1559.xml" ContentType="application/vnd.openxmlformats-officedocument.presentationml.tags+xml"/>
  <Override PartName="/ppt/tags/tag1503.xml" ContentType="application/vnd.openxmlformats-officedocument.presentationml.tags+xml"/>
  <Override PartName="/ppt/tags/tag1498.xml" ContentType="application/vnd.openxmlformats-officedocument.presentationml.tags+xml"/>
  <Override PartName="/ppt/tags/tag1512.xml" ContentType="application/vnd.openxmlformats-officedocument.presentationml.tags+xml"/>
  <Override PartName="/ppt/tags/tag1525.xml" ContentType="application/vnd.openxmlformats-officedocument.presentationml.tags+xml"/>
  <Override PartName="/ppt/tags/tag1507.xml" ContentType="application/vnd.openxmlformats-officedocument.presentationml.tags+xml"/>
  <Override PartName="/ppt/tags/tag1520.xml" ContentType="application/vnd.openxmlformats-officedocument.presentationml.tags+xml"/>
  <Override PartName="/ppt/tags/tag1528.xml" ContentType="application/vnd.openxmlformats-officedocument.presentationml.tags+xml"/>
  <Override PartName="/ppt/tags/tag1533.xml" ContentType="application/vnd.openxmlformats-officedocument.presentationml.tags+xml"/>
  <Override PartName="/ppt/tags/tag1536.xml" ContentType="application/vnd.openxmlformats-officedocument.presentationml.tags+xml"/>
  <Override PartName="/ppt/tags/tag1541.xml" ContentType="application/vnd.openxmlformats-officedocument.presentationml.tags+xml"/>
  <Override PartName="/ppt/tags/tag1549.xml" ContentType="application/vnd.openxmlformats-officedocument.presentationml.tags+xml"/>
  <Override PartName="/ppt/tags/tag1554.xml" ContentType="application/vnd.openxmlformats-officedocument.presentationml.tags+xml"/>
  <Override PartName="/ppt/tags/tag1501.xml" ContentType="application/vnd.openxmlformats-officedocument.presentationml.tags+xml"/>
  <Override PartName="/ppt/tags/tag1557.xml" ContentType="application/vnd.openxmlformats-officedocument.presentationml.tags+xml"/>
  <Override PartName="/ppt/tags/tag1515.xml" ContentType="application/vnd.openxmlformats-officedocument.presentationml.tags+xml"/>
  <Override PartName="/ppt/tags/tag1510.xml" ContentType="application/vnd.openxmlformats-officedocument.presentationml.tags+xml"/>
  <Override PartName="/ppt/tags/tag1518.xml" ContentType="application/vnd.openxmlformats-officedocument.presentationml.tags+xml"/>
  <Override PartName="/ppt/tags/tag1523.xml" ContentType="application/vnd.openxmlformats-officedocument.presentationml.tags+xml"/>
  <Override PartName="/ppt/tags/tag1526.xml" ContentType="application/vnd.openxmlformats-officedocument.presentationml.tags+xml"/>
  <Override PartName="/ppt/tags/tag1531.xml" ContentType="application/vnd.openxmlformats-officedocument.presentationml.tags+xml"/>
  <Override PartName="/ppt/tags/tag1539.xml" ContentType="application/vnd.openxmlformats-officedocument.presentationml.tags+xml"/>
  <Override PartName="/ppt/tags/tag1544.xml" ContentType="application/vnd.openxmlformats-officedocument.presentationml.tags+xml"/>
  <Override PartName="/ppt/tags/tag1552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504.xml" ContentType="application/vnd.openxmlformats-officedocument.presentationml.tags+xml"/>
  <Override PartName="/ppt/tags/tag1547.xml" ContentType="application/vnd.openxmlformats-officedocument.presentationml.tags+xml"/>
  <Override PartName="/ppt/tags/tag1499.xml" ContentType="application/vnd.openxmlformats-officedocument.presentationml.tags+xml"/>
  <Override PartName="/ppt/tags/tag1508.xml" ContentType="application/vnd.openxmlformats-officedocument.presentationml.tags+xml"/>
  <Override PartName="/ppt/tags/tag1513.xml" ContentType="application/vnd.openxmlformats-officedocument.presentationml.tags+xml"/>
  <Override PartName="/ppt/tags/tag1521.xml" ContentType="application/vnd.openxmlformats-officedocument.presentationml.tags+xml"/>
  <Override PartName="/ppt/tags/tag1529.xml" ContentType="application/vnd.openxmlformats-officedocument.presentationml.tags+xml"/>
  <Override PartName="/ppt/tags/tag1534.xml" ContentType="application/vnd.openxmlformats-officedocument.presentationml.tags+xml"/>
  <Override PartName="/ppt/tags/tag1542.xml" ContentType="application/vnd.openxmlformats-officedocument.presentationml.tags+xml"/>
  <Override PartName="/ppt/tags/tag1555.xml" ContentType="application/vnd.openxmlformats-officedocument.presentationml.tags+xml"/>
  <Override PartName="/ppt/tags/tag1516.xml" ContentType="application/vnd.openxmlformats-officedocument.presentationml.tags+xml"/>
  <Override PartName="/ppt/tags/tag1537.xml" ContentType="application/vnd.openxmlformats-officedocument.presentationml.tags+xml"/>
  <Override PartName="/ppt/tags/tag1550.xml" ContentType="application/vnd.openxmlformats-officedocument.presentationml.tags+xml"/>
  <Override PartName="/ppt/tags/tag1558.xml" ContentType="application/vnd.openxmlformats-officedocument.presentationml.tags+xml"/>
  <Override PartName="/ppt/tags/tag1502.xml" ContentType="application/vnd.openxmlformats-officedocument.presentationml.tags+xml"/>
  <Override PartName="/ppt/tags/tag1511.xml" ContentType="application/vnd.openxmlformats-officedocument.presentationml.tags+xml"/>
  <Override PartName="/ppt/tags/tag1519.xml" ContentType="application/vnd.openxmlformats-officedocument.presentationml.tags+xml"/>
  <Override PartName="/ppt/tags/tag1524.xml" ContentType="application/vnd.openxmlformats-officedocument.presentationml.tags+xml"/>
  <Override PartName="/ppt/tags/tag1532.xml" ContentType="application/vnd.openxmlformats-officedocument.presentationml.tags+xml"/>
  <Override PartName="/ppt/tags/tag1545.xml" ContentType="application/vnd.openxmlformats-officedocument.presentationml.tags+xml"/>
  <Override PartName="/ppt/tags/tag1553.xml" ContentType="application/vnd.openxmlformats-officedocument.presentationml.tags+xml"/>
  <Override PartName="/ppt/tags/tag1506.xml" ContentType="application/vnd.openxmlformats-officedocument.presentationml.tags+xml"/>
  <Override PartName="/ppt/tags/tag1527.xml" ContentType="application/vnd.openxmlformats-officedocument.presentationml.tags+xml"/>
  <Override PartName="/ppt/tags/tag1540.xml" ContentType="application/vnd.openxmlformats-officedocument.presentationml.tags+xml"/>
  <Override PartName="/ppt/tags/tag1548.xml" ContentType="application/vnd.openxmlformats-officedocument.presentationml.tags+xml"/>
  <Override PartName="/ppt/tags/tag1556.xml" ContentType="application/vnd.openxmlformats-officedocument.presentationml.tags+xml"/>
  <Override PartName="/ppt/notesSlides/notesSlide21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500.xml" ContentType="application/vnd.openxmlformats-officedocument.presentationml.tags+xml"/>
  <Override PartName="/ppt/tags/tag1505.xml" ContentType="application/vnd.openxmlformats-officedocument.presentationml.tags+xml"/>
  <Override PartName="/ppt/tags/tag1509.xml" ContentType="application/vnd.openxmlformats-officedocument.presentationml.tags+xml"/>
  <Override PartName="/ppt/tags/tag1514.xml" ContentType="application/vnd.openxmlformats-officedocument.presentationml.tags+xml"/>
  <Override PartName="/ppt/tags/tag1535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40" r:id="rId22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17.xml" Id="rId220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7.xml.rels>&#65279;<?xml version="1.0" encoding="utf-8"?><Relationships xmlns="http://schemas.openxmlformats.org/package/2006/relationships"><Relationship Type="http://schemas.openxmlformats.org/officeDocument/2006/relationships/slide" Target="/ppt/slides/slide217.xml" Id="rId2" /><Relationship Type="http://schemas.openxmlformats.org/officeDocument/2006/relationships/notesMaster" Target="/ppt/notesMasters/notesMaster1.xml" Id="rId1" /></Relationships>
</file>

<file path=ppt/notesSlides/notesSlide2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9342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7.xml.rels>&#65279;<?xml version="1.0" encoding="utf-8"?><Relationships xmlns="http://schemas.openxmlformats.org/package/2006/relationships"><Relationship Type="http://schemas.openxmlformats.org/officeDocument/2006/relationships/tags" Target="/ppt/tags/tag1522.xml" Id="rId26" /><Relationship Type="http://schemas.openxmlformats.org/officeDocument/2006/relationships/tags" Target="/ppt/tags/tag1517.xml" Id="rId21" /><Relationship Type="http://schemas.openxmlformats.org/officeDocument/2006/relationships/tags" Target="/ppt/tags/tag1530.xml" Id="rId34" /><Relationship Type="http://schemas.openxmlformats.org/officeDocument/2006/relationships/tags" Target="/ppt/tags/tag1538.xml" Id="rId42" /><Relationship Type="http://schemas.openxmlformats.org/officeDocument/2006/relationships/tags" Target="/ppt/tags/tag1543.xml" Id="rId47" /><Relationship Type="http://schemas.openxmlformats.org/officeDocument/2006/relationships/tags" Target="/ppt/tags/tag1546.xml" Id="rId50" /><Relationship Type="http://schemas.openxmlformats.org/officeDocument/2006/relationships/tags" Target="/ppt/tags/tag1551.xml" Id="rId55" /><Relationship Type="http://schemas.openxmlformats.org/officeDocument/2006/relationships/tags" Target="/ppt/tags/tag1559.xml" Id="rId63" /><Relationship Type="http://schemas.openxmlformats.org/officeDocument/2006/relationships/tags" Target="/ppt/tags/tag1503.xml" Id="rId7" /><Relationship Type="http://schemas.openxmlformats.org/officeDocument/2006/relationships/tags" Target="/ppt/tags/tag1498.xml" Id="rId2" /><Relationship Type="http://schemas.openxmlformats.org/officeDocument/2006/relationships/tags" Target="/ppt/tags/tag1512.xml" Id="rId16" /><Relationship Type="http://schemas.openxmlformats.org/officeDocument/2006/relationships/tags" Target="/ppt/tags/tag1525.xml" Id="rId29" /><Relationship Type="http://schemas.openxmlformats.org/officeDocument/2006/relationships/tags" Target="/ppt/tags/tag1507.xml" Id="rId11" /><Relationship Type="http://schemas.openxmlformats.org/officeDocument/2006/relationships/tags" Target="/ppt/tags/tag1520.xml" Id="rId24" /><Relationship Type="http://schemas.openxmlformats.org/officeDocument/2006/relationships/tags" Target="/ppt/tags/tag1528.xml" Id="rId32" /><Relationship Type="http://schemas.openxmlformats.org/officeDocument/2006/relationships/tags" Target="/ppt/tags/tag1533.xml" Id="rId37" /><Relationship Type="http://schemas.openxmlformats.org/officeDocument/2006/relationships/tags" Target="/ppt/tags/tag1536.xml" Id="rId40" /><Relationship Type="http://schemas.openxmlformats.org/officeDocument/2006/relationships/tags" Target="/ppt/tags/tag1541.xml" Id="rId45" /><Relationship Type="http://schemas.openxmlformats.org/officeDocument/2006/relationships/tags" Target="/ppt/tags/tag1549.xml" Id="rId53" /><Relationship Type="http://schemas.openxmlformats.org/officeDocument/2006/relationships/tags" Target="/ppt/tags/tag1554.xml" Id="rId58" /><Relationship Type="http://schemas.openxmlformats.org/officeDocument/2006/relationships/oleObject" Target="/ppt/embeddings/oleObject221.bin" Id="rId66" /><Relationship Type="http://schemas.openxmlformats.org/officeDocument/2006/relationships/tags" Target="/ppt/tags/tag1501.xml" Id="rId5" /><Relationship Type="http://schemas.openxmlformats.org/officeDocument/2006/relationships/tags" Target="/ppt/tags/tag1557.xml" Id="rId61" /><Relationship Type="http://schemas.openxmlformats.org/officeDocument/2006/relationships/tags" Target="/ppt/tags/tag1515.xml" Id="rId19" /><Relationship Type="http://schemas.openxmlformats.org/officeDocument/2006/relationships/tags" Target="/ppt/tags/tag1510.xml" Id="rId14" /><Relationship Type="http://schemas.openxmlformats.org/officeDocument/2006/relationships/tags" Target="/ppt/tags/tag1518.xml" Id="rId22" /><Relationship Type="http://schemas.openxmlformats.org/officeDocument/2006/relationships/tags" Target="/ppt/tags/tag1523.xml" Id="rId27" /><Relationship Type="http://schemas.openxmlformats.org/officeDocument/2006/relationships/tags" Target="/ppt/tags/tag1526.xml" Id="rId30" /><Relationship Type="http://schemas.openxmlformats.org/officeDocument/2006/relationships/tags" Target="/ppt/tags/tag1531.xml" Id="rId35" /><Relationship Type="http://schemas.openxmlformats.org/officeDocument/2006/relationships/tags" Target="/ppt/tags/tag1539.xml" Id="rId43" /><Relationship Type="http://schemas.openxmlformats.org/officeDocument/2006/relationships/tags" Target="/ppt/tags/tag1544.xml" Id="rId48" /><Relationship Type="http://schemas.openxmlformats.org/officeDocument/2006/relationships/tags" Target="/ppt/tags/tag1552.xml" Id="rId56" /><Relationship Type="http://schemas.openxmlformats.org/officeDocument/2006/relationships/slideLayout" Target="/ppt/slideLayouts/slideLayout5.xml" Id="rId64" /><Relationship Type="http://schemas.openxmlformats.org/officeDocument/2006/relationships/tags" Target="/ppt/tags/tag1504.xml" Id="rId8" /><Relationship Type="http://schemas.openxmlformats.org/officeDocument/2006/relationships/tags" Target="/ppt/tags/tag1547.xml" Id="rId51" /><Relationship Type="http://schemas.openxmlformats.org/officeDocument/2006/relationships/tags" Target="/ppt/tags/tag1499.xml" Id="rId3" /><Relationship Type="http://schemas.openxmlformats.org/officeDocument/2006/relationships/tags" Target="/ppt/tags/tag1508.xml" Id="rId12" /><Relationship Type="http://schemas.openxmlformats.org/officeDocument/2006/relationships/tags" Target="/ppt/tags/tag1513.xml" Id="rId17" /><Relationship Type="http://schemas.openxmlformats.org/officeDocument/2006/relationships/tags" Target="/ppt/tags/tag1521.xml" Id="rId25" /><Relationship Type="http://schemas.openxmlformats.org/officeDocument/2006/relationships/tags" Target="/ppt/tags/tag1529.xml" Id="rId33" /><Relationship Type="http://schemas.openxmlformats.org/officeDocument/2006/relationships/tags" Target="/ppt/tags/tag1534.xml" Id="rId38" /><Relationship Type="http://schemas.openxmlformats.org/officeDocument/2006/relationships/tags" Target="/ppt/tags/tag1542.xml" Id="rId46" /><Relationship Type="http://schemas.openxmlformats.org/officeDocument/2006/relationships/tags" Target="/ppt/tags/tag1555.xml" Id="rId59" /><Relationship Type="http://schemas.openxmlformats.org/officeDocument/2006/relationships/image" Target="/ppt/media/image4.emf" Id="rId67" /><Relationship Type="http://schemas.openxmlformats.org/officeDocument/2006/relationships/tags" Target="/ppt/tags/tag1516.xml" Id="rId20" /><Relationship Type="http://schemas.openxmlformats.org/officeDocument/2006/relationships/tags" Target="/ppt/tags/tag1537.xml" Id="rId41" /><Relationship Type="http://schemas.openxmlformats.org/officeDocument/2006/relationships/tags" Target="/ppt/tags/tag1550.xml" Id="rId54" /><Relationship Type="http://schemas.openxmlformats.org/officeDocument/2006/relationships/tags" Target="/ppt/tags/tag1558.xml" Id="rId62" /><Relationship Type="http://schemas.openxmlformats.org/officeDocument/2006/relationships/vmlDrawing" Target="/ppt/drawings/vmlDrawing221.vml" Id="rId1" /><Relationship Type="http://schemas.openxmlformats.org/officeDocument/2006/relationships/tags" Target="/ppt/tags/tag1502.xml" Id="rId6" /><Relationship Type="http://schemas.openxmlformats.org/officeDocument/2006/relationships/tags" Target="/ppt/tags/tag1511.xml" Id="rId15" /><Relationship Type="http://schemas.openxmlformats.org/officeDocument/2006/relationships/tags" Target="/ppt/tags/tag1519.xml" Id="rId23" /><Relationship Type="http://schemas.openxmlformats.org/officeDocument/2006/relationships/tags" Target="/ppt/tags/tag1524.xml" Id="rId28" /><Relationship Type="http://schemas.openxmlformats.org/officeDocument/2006/relationships/tags" Target="/ppt/tags/tag1532.xml" Id="rId36" /><Relationship Type="http://schemas.openxmlformats.org/officeDocument/2006/relationships/tags" Target="/ppt/tags/tag1545.xml" Id="rId49" /><Relationship Type="http://schemas.openxmlformats.org/officeDocument/2006/relationships/tags" Target="/ppt/tags/tag1553.xml" Id="rId57" /><Relationship Type="http://schemas.openxmlformats.org/officeDocument/2006/relationships/tags" Target="/ppt/tags/tag1506.xml" Id="rId10" /><Relationship Type="http://schemas.openxmlformats.org/officeDocument/2006/relationships/tags" Target="/ppt/tags/tag1527.xml" Id="rId31" /><Relationship Type="http://schemas.openxmlformats.org/officeDocument/2006/relationships/tags" Target="/ppt/tags/tag1540.xml" Id="rId44" /><Relationship Type="http://schemas.openxmlformats.org/officeDocument/2006/relationships/tags" Target="/ppt/tags/tag1548.xml" Id="rId52" /><Relationship Type="http://schemas.openxmlformats.org/officeDocument/2006/relationships/tags" Target="/ppt/tags/tag1556.xml" Id="rId60" /><Relationship Type="http://schemas.openxmlformats.org/officeDocument/2006/relationships/notesSlide" Target="/ppt/notesSlides/notesSlide217.xml" Id="rId65" /><Relationship Type="http://schemas.openxmlformats.org/officeDocument/2006/relationships/tags" Target="/ppt/tags/tag1500.xml" Id="rId4" /><Relationship Type="http://schemas.openxmlformats.org/officeDocument/2006/relationships/tags" Target="/ppt/tags/tag1505.xml" Id="rId9" /><Relationship Type="http://schemas.openxmlformats.org/officeDocument/2006/relationships/tags" Target="/ppt/tags/tag1509.xml" Id="rId13" /><Relationship Type="http://schemas.openxmlformats.org/officeDocument/2006/relationships/tags" Target="/ppt/tags/tag1514.xml" Id="rId18" /><Relationship Type="http://schemas.openxmlformats.org/officeDocument/2006/relationships/tags" Target="/ppt/tags/tag1535.xml" Id="rId39" /></Relationships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20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3" name="think-cell 幻灯片" r:id="rId66" imgW="349" imgH="350" progId="TCLayout.ActiveDocument.1">
                  <p:embed/>
                </p:oleObj>
              </mc:Choice>
              <mc:Fallback>
                <p:oleObj name="think-cell 幻灯片" r:id="rId6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tem comparison: </a:t>
            </a:r>
            <a:r>
              <a:rPr lang="en-US" altLang="en-US"/>
              <a:t>Mekko (unit axis)</a:t>
            </a:r>
            <a:endParaRPr lang="en-US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D3A178A-2798-AC3F-C8F7-78068F8AE37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064250" y="4846638"/>
            <a:ext cx="1166813" cy="5826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86530E2-053E-C088-2CCD-943D0A7A77F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64250" y="4535487"/>
            <a:ext cx="1166813" cy="3111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ADB66E7-2BD8-EA81-C61C-0CE124BCF6E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562225" y="4495799"/>
            <a:ext cx="3502025" cy="9334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080FE03-4BDC-DB28-D97E-B820F524876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562225" y="3717925"/>
            <a:ext cx="3502025" cy="7778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86424F9-AC52-CCEB-2733-DE2961D8815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103313" y="3990975"/>
            <a:ext cx="1458913" cy="143827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B14165F-36A5-9DA0-99FD-BFBCAFA0AAA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103313" y="2940050"/>
            <a:ext cx="1458913" cy="10509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0057E5E4-4F3E-1BF7-C03B-6981E114553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82638" y="3795713"/>
            <a:ext cx="320675" cy="16335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0A66079-29E4-C5CF-1420-B6D853CCFD3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82638" y="2551112"/>
            <a:ext cx="320675" cy="12446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4BC6DFB0-D101-E3C4-B1EC-A62146F85D4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777875" y="5429250"/>
            <a:ext cx="64579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3E62B192-2EAF-E037-4A36-4C332BC63EF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82638" y="2312988"/>
            <a:ext cx="0" cy="31210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2E65897-87AF-FBA1-3098-E49762A9E6F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723900" y="30956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48D2402C-02BA-6FA6-1CA2-F212A7934321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H="1">
            <a:off x="723900" y="5429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8CDD18A1-B2F5-EA26-DC55-99B23FB5C5EF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H="1">
            <a:off x="723900" y="38735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C0D7585A-879E-4D43-95D3-CE517E072114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H="1">
            <a:off x="723900" y="50403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41243C6F-F5A4-9B3C-A1C2-4F4E52EF513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H="1">
            <a:off x="723900" y="34845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406CFBC-F5A7-FB9B-DA18-995F379DB34A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723900" y="46513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C386379-DBE9-DA42-0EE6-78CD24BDF84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723900" y="27066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F2AC8D10-3AFD-1A0E-F91C-939F380DFB9C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 flipH="1">
            <a:off x="723900" y="42624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D88A3B4-48BE-11A8-FF0A-CD523A558D2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723900" y="23177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6238" y="2211388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1FC10C3-B23C-4186-89F7-77600CB1055B}" type="datetime'''''''''''''''''''''''8''''0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90537" y="5322888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F12561-6A3C-4BEA-B8F8-E380579B7E4B}" type="datetime'''''''''''''''''''''''''''''0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15925" y="4933950"/>
            <a:ext cx="190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E27E91F-036F-4D43-B2BD-6DD55A285391}" type="datetime'''''''''''''''''''''''''''''''''1''0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81000" y="415607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02B70C8-56E6-4A5F-B435-826EF5F974F2}" type="datetime'''''''3''0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376238" y="3767138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DF58D2-13EB-4501-95D3-B2B4F16C7A2F}" type="datetime'''''''''''''''''''''''''''''''40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77825" y="3378200"/>
            <a:ext cx="228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3A4ABE9-0FD0-4E24-A772-E4866FF726F6}" type="datetime'''''''''''''''''''''5''''0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79413" y="4545013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DCB0F7E-2FD4-4AFC-A888-5F3CCB41AB70}" type="datetime'''''''''''''''''''''''2''''''''''''0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79413" y="2989263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90D31-7751-45B6-87F8-3698938E5EE6}" type="datetime'''''''''''''''''''''''''6''''''''''0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93700" y="2600325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94EBC1-C116-4BC7-B8C6-CCD2AF6AB34A}" type="datetime'''7''''''''''''''0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2CD474B-FCBE-BA67-827E-0C119B0CD9DF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064250" y="4535488"/>
            <a:ext cx="1171575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E985909-3A35-4C36-EFF8-275DB4F22FBB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777875" y="2551113"/>
            <a:ext cx="325438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D03CFA9-9F73-739B-2AC2-43FFC2A76AF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103313" y="2536825"/>
            <a:ext cx="0" cy="4175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FD50420-CBC9-BB76-97D0-3AA9760BC9B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1103313" y="2940050"/>
            <a:ext cx="1458913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AA61EFA-CB13-27EF-2B29-069E8FC139F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2562225" y="2925763"/>
            <a:ext cx="0" cy="8064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914819B-B32C-5C11-4685-8F72FC01FBA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2562225" y="3717925"/>
            <a:ext cx="3502025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51A2D3F-6A71-D145-6AEE-B77030D39E9E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6064250" y="3703638"/>
            <a:ext cx="0" cy="846137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Arrow: Right 111">
            <a:extLst>
              <a:ext uri="{FF2B5EF4-FFF2-40B4-BE49-F238E27FC236}">
                <a16:creationId xmlns:a16="http://schemas.microsoft.com/office/drawing/2014/main" id="{B91BF439-B6AA-5E6C-9DEE-0CB3BBAF323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 rot="10800000">
            <a:off x="7281863" y="35560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E2DCE9D1-1567-9F95-AEE5-8DC1BF3E357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82638" y="3632200"/>
            <a:ext cx="3390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6CB2FAF-3813-8944-F98E-1B64D3761A6F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4452939" y="3632200"/>
            <a:ext cx="27781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0313D8F-3246-3C96-FE27-A35DE524AD2F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564312" y="4584700"/>
            <a:ext cx="165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77E72D-E140-4C91-B042-EFD53D75DA03}" type="datetime'''''''''''''''''''''''''''''''''''8''''''''''''''''''''''''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52475" y="5487988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E075FA-CFC1-4EBC-8976-70FE56FA3CEC}" type="datetime'''''''''B''''''''''''''U'''''''''' ''''''''''''''''1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1CA581F1-7199-3ABF-0388-E505556D28B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527801" y="5030788"/>
            <a:ext cx="238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4EA287-AE98-4EE7-B459-76EA36915B83}" type="datetime'''1''''''5''''''''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5CE771FC-6655-9280-958A-A2EB5252818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6437313" y="54879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E41118-A4FA-45F9-A82E-9ED5408DE5D8}" type="datetime'''''''''''''B''''''''''''''U'' ''''''''4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 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48FBAF8-C3DF-CE5C-B7B7-026C88AB258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703388" y="3359150"/>
            <a:ext cx="258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C5FBC0-7368-41D8-AAAE-82DED40BB615}" type="datetime'''''2''7''''''''''''''''''''''''''''''''''''''''''''''''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378700" y="5216525"/>
            <a:ext cx="8223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Units</a:t>
            </a:r>
            <a:b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</a:b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produced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703388" y="4603750"/>
            <a:ext cx="257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E46C53-99CB-40C3-BCE0-343D039DBE1E}" type="datetime'''''''''''''''''''''''''''''''''''3''''''''''''''7''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624013" y="5487988"/>
            <a:ext cx="417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D475C4-A240-4F23-8489-35EBAB1823A0}" type="datetime'B''''''''''''''''U'''' ''''''''''''''''''''''''''2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812800" y="2312988"/>
            <a:ext cx="261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08A217-FF7C-4164-8EAC-649B3BF629C7}" type="datetime'''''''''''74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693863" y="2701925"/>
            <a:ext cx="276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EBA8D5-4316-40C7-88C2-03E868EE6D0D}" type="datetime'''''''6''''''''''''''''''''''4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4173538" y="3479800"/>
            <a:ext cx="279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6FA445-3EFF-4318-AD24-9DC9697DC62C}" type="datetime'''''''''''''''''''''''''''''4''4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461249" y="35258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Ø </a:t>
            </a:r>
            <a:fld id="{8EF23001-268A-4C1C-A349-AD7E28B14989}" type="datetime'''''''''''''''''''''''''4''''''''''''6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76237" y="1855788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Cost per unit [USD m]</a:t>
            </a:r>
            <a:endParaRPr lang="en-US" altLang="en-US" sz="1400">
              <a:solidFill>
                <a:schemeClr val="bg2">
                  <a:lumMod val="10000"/>
                </a:schemeClr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523A6D0-0481-0A1B-F701-528B97C5B7BC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4175125" y="4000500"/>
            <a:ext cx="277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26FF52-667D-425F-86A0-140074D1122C}" type="datetime'''''''2''''''''''''''''''''''''0''''''''''''''''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B90E189-F94E-0261-4AA3-9FA24267735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808038" y="3067050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234487-A499-4342-A6F0-854FA3F28F15}" type="datetime'''''''''''''''''''''''''''''''''''''''''''''3''''''''''2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4175125" y="4856163"/>
            <a:ext cx="276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A18C04-5D05-4EF0-A5A9-5FDF98261124}" type="datetime'''''''''''''''2''''''''''''''''''''''''''''''4''''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105275" y="5487988"/>
            <a:ext cx="415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B81156-D09A-4264-AA37-1FD2B0BD061F}" type="datetime'B''''''U'''''''''''''''' ''''''''''3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804863" y="4505325"/>
            <a:ext cx="276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50444F-7F5F-421E-94A2-BD7AE1DD3C34}" type="datetime'''4''''''''''''''''''''''''''''2'''''''''''''''">
              <a:rPr lang="en-US" altLang="en-US" sz="14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906B4707-7AAA-1282-9284-231F8B1B1C18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511925" y="4297363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BE4ADD-9F5C-40D3-A113-B5C0C6CE0BBE}" type="datetime'''''''2''''''''3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D43EB0A-A9D6-8AE8-3914-09400031BEAF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3106738" y="577850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A5A31FB2-F3F9-04DB-0089-297983E7980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4011613" y="57785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E5FF7DF-4631-C928-EE56-D1C280C31008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408363" y="5773738"/>
            <a:ext cx="501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E26E046-318E-4E01-912D-3CD773EBAEDE}" type="datetime'La''''b''''''''''''''''o''''''''''r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Labor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313238" y="5773738"/>
            <a:ext cx="708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4F5851E-AB9E-419A-84C2-5324FF5A6B2E}" type="datetime'''''Ma''''''''''''''t''e''''''r''''''i''''''''a''l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aterial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5880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</a:t>
            </a:r>
            <a:r>
              <a:rPr lang="en-US" err="1">
                <a:solidFill>
                  <a:schemeClr val="tx2"/>
                </a:solidFill>
              </a:rPr>
              <a:t>marimekko</a:t>
            </a:r>
            <a:r>
              <a:rPr lang="en-US">
                <a:solidFill>
                  <a:schemeClr val="tx2"/>
                </a:solidFill>
              </a:rPr>
              <a:t>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8">
            <a:extLst>
              <a:ext uri="{FF2B5EF4-FFF2-40B4-BE49-F238E27FC236}">
                <a16:creationId xmlns:a16="http://schemas.microsoft.com/office/drawing/2014/main" id="{A3B9B32B-6DB9-481C-23DC-0CAD65FF262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778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.JSTIAmsks7c8szsVtNw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e8aKPhdpoHEaOby2YN0w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W5jA1P2rd_ItQAJjSH9A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jRAcMpNcmBBlWUl4nCaA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UY3qdE44BTLYDqX58wGg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k7RH_1mN8tRBKGe3jO1Q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s4lSfU20JCJpQzMhTfig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luHfbHXaOxKLUpS3X1qQ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BqE38cH34fGlXXVPbX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h7w1waOje5pBIkAiUnAg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G8.CiRWLaRdapHQ3ed6w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aI1s_mMHWXZybvLSJrx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UAJJu0uT8eDkaLgiSdZ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V6fCoKoVBRruY3Vfslbw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HSNeiRclkk89Bl4gzU.Q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o1565_6iYuAW6eR9qcOA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yi85HpN_UAe2.8BH2g_Q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bQvtBapQcEKHSSjcUtA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dGaX8X_oqiDIluYvbMew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saO7D76PvxxkgvTCsxBg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UHxQVkpoB19XI6q7fwxA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O8P_yAZY0BN2S_Pm5j7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ZfBYq5Rkt1vZ9CivgMPw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xkFqGWA5zQn19nckgifQ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XILCGYWJYnis4.9Lmy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jhFeLZYfdIQnTV47XQNQ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yuBeop8fxKJYLrXJJMLg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0xEwh.MH6qu3hBi1QMw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Rwsi_uVv8yqQjBWkfScw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DpKbKmaWiojKvo4cXwsg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q3kR1SYcseGaS_e2F8GQ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Ug6nw7ECf5B6IAJmuEkw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6.ytaMMOT.aJc.VFd4w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wJCQtPmyEtst2rrX5N4g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AR97VOAt6d81s43wWj4w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vNhtTqn2EMwDjjVqibbg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sc3hDOE2HyiaAPjS2NQ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Cp1UT11wQkbLPlyJQKHw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oAOK6QfUmEI6U2K7rWiw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cqrGb1TtHMhEd1iGrEPw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0groLbr_oKKOCws632Q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Gl5V4A5eFxvoEt50VOA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rY7n7645KmlfJuLXUJQQ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expCa4XHcFCyyXJQpw2w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a4zcdOUaTYBcOeigzQaQ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Bed.ZrjvJ2k6Ex4bGTlw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4yvh.hdrczgQlJsxFMWw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QTprJEWU_b_jyatoxcA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MP8OQ85rdKo.ldifCfwg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2IOsNNbYVpWzkO2HoBng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ZtQsC2srBwuBKqJo9TAw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icCa59shUAuwy_b2uuag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_jtUBJy12CNpPgPDJTsA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12yqKGzh.QNi2fYhiWew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fVePbDO.F5ggl0xLzUKQ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G6I3.V9Q_5R8j7svrw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065CRybgy81Tao9h522w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WXWF4ISVEAElZmcEO6OQ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6daJmNj60m.XhD0edApQ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uajIuYYZv09KCp9vsIg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FAQvK507F2NC7LQGpX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